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18"/>
  </p:notesMasterIdLst>
  <p:handoutMasterIdLst>
    <p:handoutMasterId r:id="rId19"/>
  </p:handoutMasterIdLst>
  <p:sldIdLst>
    <p:sldId id="347" r:id="rId5"/>
    <p:sldId id="433" r:id="rId6"/>
    <p:sldId id="436" r:id="rId7"/>
    <p:sldId id="440" r:id="rId8"/>
    <p:sldId id="442" r:id="rId9"/>
    <p:sldId id="448" r:id="rId10"/>
    <p:sldId id="449" r:id="rId11"/>
    <p:sldId id="425" r:id="rId12"/>
    <p:sldId id="431" r:id="rId13"/>
    <p:sldId id="438" r:id="rId14"/>
    <p:sldId id="392" r:id="rId15"/>
    <p:sldId id="447" r:id="rId16"/>
    <p:sldId id="437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CCECFF"/>
    <a:srgbClr val="CCFFFF"/>
    <a:srgbClr val="66FFFF"/>
    <a:srgbClr val="CCFFCC"/>
    <a:srgbClr val="FFCCFF"/>
    <a:srgbClr val="FF99FF"/>
    <a:srgbClr val="654E47"/>
    <a:srgbClr val="65553C"/>
    <a:srgbClr val="686963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06" autoAdjust="0"/>
    <p:restoredTop sz="86099" autoAdjust="0"/>
  </p:normalViewPr>
  <p:slideViewPr>
    <p:cSldViewPr snapToGrid="0">
      <p:cViewPr varScale="1">
        <p:scale>
          <a:sx n="114" d="100"/>
          <a:sy n="114" d="100"/>
        </p:scale>
        <p:origin x="92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06"/>
    </p:cViewPr>
  </p:sorterViewPr>
  <p:notesViewPr>
    <p:cSldViewPr snapToGrid="0">
      <p:cViewPr varScale="1">
        <p:scale>
          <a:sx n="49" d="100"/>
          <a:sy n="49" d="100"/>
        </p:scale>
        <p:origin x="205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E2305-466C-4623-BA03-7D1ABB7C9E8B}" type="datetimeFigureOut">
              <a:rPr lang="en-GB" smtClean="0"/>
              <a:t>06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AB2DDB-3F36-4FB8-8004-74C0E9CD6F5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1304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94DEE1-CFED-4862-80A6-C1C29819A1DC}" type="datetimeFigureOut">
              <a:rPr lang="en-GB" smtClean="0"/>
              <a:t>06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745B09-AD31-409C-B2BB-E7C534396A2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038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23988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1273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23373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E3B9AA-BDE8-4628-91B7-7494A9D219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053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E3B9AA-BDE8-4628-91B7-7494A9D219BC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392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E3B9AA-BDE8-4628-91B7-7494A9D219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528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37092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745B09-AD31-409C-B2BB-E7C534396A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18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5755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554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17FD0C-5575-0A47-BA80-48A09A88182E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9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214175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17FD0C-5575-0A47-BA80-48A09A88182E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55921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24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867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459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859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82137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673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8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5902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30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384048"/>
            <a:ext cx="11430000" cy="5864352"/>
          </a:xfrm>
        </p:spPr>
        <p:txBody>
          <a:bodyPr rIns="0"/>
          <a:lstStyle>
            <a:lvl1pPr>
              <a:lnSpc>
                <a:spcPct val="90000"/>
              </a:lnSpc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9814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384048"/>
            <a:ext cx="11426952" cy="5861304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0982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7623048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0450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3803904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384048"/>
            <a:ext cx="3794760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0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9582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384048" y="383675"/>
            <a:ext cx="7616952" cy="58613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381000"/>
            <a:ext cx="3794760" cy="5864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529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3146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3840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3146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8909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822342"/>
            <a:ext cx="3816000" cy="2427527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822904"/>
            <a:ext cx="3816000" cy="243020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1395358"/>
            <a:ext cx="3816000" cy="2423745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822904"/>
            <a:ext cx="3816000" cy="243020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2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2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22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471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4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7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8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9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6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0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50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" name="Freeform 5"/>
          <p:cNvSpPr/>
          <p:nvPr userDrawn="1"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" name="Freeform 6"/>
          <p:cNvSpPr/>
          <p:nvPr userDrawn="1"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8" name="Freeform 7"/>
          <p:cNvSpPr/>
          <p:nvPr userDrawn="1"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Freeform 9"/>
          <p:cNvSpPr/>
          <p:nvPr userDrawn="1"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1" name="Freeform 10"/>
          <p:cNvSpPr/>
          <p:nvPr userDrawn="1"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2" name="Freeform 11"/>
          <p:cNvSpPr/>
          <p:nvPr userDrawn="1"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3" name="Freeform 12"/>
          <p:cNvSpPr/>
          <p:nvPr userDrawn="1"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4" name="Freeform 13"/>
          <p:cNvSpPr/>
          <p:nvPr userDrawn="1"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5" name="Freeform 14"/>
          <p:cNvSpPr/>
          <p:nvPr userDrawn="1"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 dirty="0"/>
              <a:t>s</a:t>
            </a:r>
          </a:p>
        </p:txBody>
      </p:sp>
      <p:sp>
        <p:nvSpPr>
          <p:cNvPr id="17" name="Freeform 16"/>
          <p:cNvSpPr/>
          <p:nvPr userDrawn="1"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8" name="Freeform 17"/>
          <p:cNvSpPr/>
          <p:nvPr userDrawn="1"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9" name="Freeform 18"/>
          <p:cNvSpPr/>
          <p:nvPr userDrawn="1"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0" name="Freeform 19"/>
          <p:cNvSpPr/>
          <p:nvPr userDrawn="1"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1" name="Freeform 20"/>
          <p:cNvSpPr/>
          <p:nvPr userDrawn="1"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2" name="Freeform 21"/>
          <p:cNvSpPr/>
          <p:nvPr userDrawn="1"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3" name="Freeform 22"/>
          <p:cNvSpPr/>
          <p:nvPr userDrawn="1"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4" name="Freeform 23"/>
          <p:cNvSpPr/>
          <p:nvPr userDrawn="1"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Freeform 24"/>
          <p:cNvSpPr/>
          <p:nvPr userDrawn="1"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6" name="Freeform 25"/>
          <p:cNvSpPr/>
          <p:nvPr userDrawn="1"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7" name="Freeform 26"/>
          <p:cNvSpPr/>
          <p:nvPr userDrawn="1"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8" name="Freeform 27"/>
          <p:cNvSpPr/>
          <p:nvPr userDrawn="1"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 userDrawn="1"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0" name="Freeform 29"/>
          <p:cNvSpPr/>
          <p:nvPr userDrawn="1"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1" name="Freeform 30"/>
          <p:cNvSpPr/>
          <p:nvPr userDrawn="1"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2" name="Freeform 31"/>
          <p:cNvSpPr/>
          <p:nvPr userDrawn="1"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3" name="Freeform 32"/>
          <p:cNvSpPr/>
          <p:nvPr userDrawn="1"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4" name="Freeform 33"/>
          <p:cNvSpPr/>
          <p:nvPr userDrawn="1"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Freeform 34"/>
          <p:cNvSpPr/>
          <p:nvPr userDrawn="1"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6" name="Freeform 35"/>
          <p:cNvSpPr/>
          <p:nvPr userDrawn="1"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7" name="Freeform 36"/>
          <p:cNvSpPr/>
          <p:nvPr userDrawn="1"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8" name="Freeform 37"/>
          <p:cNvSpPr/>
          <p:nvPr userDrawn="1"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9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 dirty="0"/>
                <a:t>s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49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0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732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9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874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652428"/>
            <a:ext cx="8210550" cy="1994392"/>
          </a:xfrm>
          <a:prstGeom prst="rect">
            <a:avLst/>
          </a:prstGeom>
          <a:gradFill>
            <a:gsLst>
              <a:gs pos="0">
                <a:srgbClr val="65553C">
                  <a:alpha val="37000"/>
                </a:srgbClr>
              </a:gs>
              <a:gs pos="70000">
                <a:srgbClr val="654E47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38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2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5705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5593" y="1652428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84048" y="3892296"/>
            <a:ext cx="9472598" cy="86484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 subhead/presenters names, </a:t>
            </a:r>
            <a:br>
              <a:rPr lang="en-US" dirty="0"/>
            </a:br>
            <a:r>
              <a:rPr lang="en-US" dirty="0"/>
              <a:t>one or two 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520449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55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5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7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20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1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2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0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4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0665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452" y="528640"/>
            <a:ext cx="10873316" cy="581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58285" y="1731963"/>
            <a:ext cx="5378450" cy="4749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39935" y="1731963"/>
            <a:ext cx="5380566" cy="2298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39935" y="4183063"/>
            <a:ext cx="5380566" cy="2298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93554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978" y="643270"/>
            <a:ext cx="11506021" cy="45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Aft>
                <a:spcPts val="300"/>
              </a:spcAft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5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2399"/>
          </a:p>
        </p:txBody>
      </p:sp>
      <p:sp>
        <p:nvSpPr>
          <p:cNvPr id="5" name="TextBox 4"/>
          <p:cNvSpPr txBox="1"/>
          <p:nvPr userDrawn="1"/>
        </p:nvSpPr>
        <p:spPr>
          <a:xfrm>
            <a:off x="11590811" y="6596403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grpSp>
        <p:nvGrpSpPr>
          <p:cNvPr id="6" name="Group 22"/>
          <p:cNvGrpSpPr>
            <a:grpSpLocks/>
          </p:cNvGrpSpPr>
          <p:nvPr userDrawn="1"/>
        </p:nvGrpSpPr>
        <p:grpSpPr bwMode="auto">
          <a:xfrm>
            <a:off x="15315" y="6596403"/>
            <a:ext cx="2147228" cy="184155"/>
            <a:chOff x="9374212" y="6574531"/>
            <a:chExt cx="2147228" cy="182885"/>
          </a:xfrm>
        </p:grpSpPr>
        <p:grpSp>
          <p:nvGrpSpPr>
            <p:cNvPr id="7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27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539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53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1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106570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PT Content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379413"/>
            <a:ext cx="3816000" cy="10128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184031" y="379413"/>
            <a:ext cx="7620619" cy="587375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79414" y="1392239"/>
            <a:ext cx="3816000" cy="4860924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>
                <a:solidFill>
                  <a:prstClr val="black"/>
                </a:solidFill>
              </a:rPr>
              <a:pPr algn="r"/>
              <a:t>‹#›</a:t>
            </a:fld>
            <a:endParaRPr lang="en-US" sz="800" dirty="0" err="1">
              <a:solidFill>
                <a:prstClr val="black"/>
              </a:solidFill>
            </a:endParaRPr>
          </a:p>
        </p:txBody>
      </p:sp>
      <p:grpSp>
        <p:nvGrpSpPr>
          <p:cNvPr id="12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3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5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800" kern="0" dirty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6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r" eaLnBrk="1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75980DF0-75D0-FD4C-983E-614B6986212F}" type="datetime3">
                  <a:rPr lang="en-US" sz="800" kern="0" smtClean="0">
                    <a:solidFill>
                      <a:prstClr val="black"/>
                    </a:solidFill>
                    <a:latin typeface="3M Circular TT Book" panose="020B0604020101020102" pitchFamily="34" charset="0"/>
                    <a:cs typeface="3M Circular TT Book" panose="020B0604020101020102" pitchFamily="34" charset="0"/>
                  </a:rPr>
                  <a:pPr algn="r" eaLnBrk="1" fontAlgn="base" hangingPunct="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6 March 2018</a:t>
                </a:fld>
                <a:endPara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7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281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800" kern="0">
                  <a:solidFill>
                    <a:prstClr val="black"/>
                  </a:solidFill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4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kern="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72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3934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5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8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9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0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7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1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16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7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8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0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1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2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9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93954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0213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380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8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3461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204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82563" marR="0" lvl="1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357188" marR="0" lvl="2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539750" marR="0" lvl="3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714375" marR="0" lvl="4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5913041" y="6475413"/>
            <a:ext cx="365919" cy="194691"/>
          </a:xfrm>
          <a:custGeom>
            <a:avLst/>
            <a:gdLst>
              <a:gd name="T0" fmla="*/ 109 w 138"/>
              <a:gd name="T1" fmla="*/ 2 h 72"/>
              <a:gd name="T2" fmla="*/ 99 w 138"/>
              <a:gd name="T3" fmla="*/ 42 h 72"/>
              <a:gd name="T4" fmla="*/ 89 w 138"/>
              <a:gd name="T5" fmla="*/ 2 h 72"/>
              <a:gd name="T6" fmla="*/ 61 w 138"/>
              <a:gd name="T7" fmla="*/ 2 h 72"/>
              <a:gd name="T8" fmla="*/ 61 w 138"/>
              <a:gd name="T9" fmla="*/ 17 h 72"/>
              <a:gd name="T10" fmla="*/ 33 w 138"/>
              <a:gd name="T11" fmla="*/ 0 h 72"/>
              <a:gd name="T12" fmla="*/ 3 w 138"/>
              <a:gd name="T13" fmla="*/ 24 h 72"/>
              <a:gd name="T14" fmla="*/ 22 w 138"/>
              <a:gd name="T15" fmla="*/ 24 h 72"/>
              <a:gd name="T16" fmla="*/ 32 w 138"/>
              <a:gd name="T17" fmla="*/ 16 h 72"/>
              <a:gd name="T18" fmla="*/ 41 w 138"/>
              <a:gd name="T19" fmla="*/ 22 h 72"/>
              <a:gd name="T20" fmla="*/ 32 w 138"/>
              <a:gd name="T21" fmla="*/ 28 h 72"/>
              <a:gd name="T22" fmla="*/ 26 w 138"/>
              <a:gd name="T23" fmla="*/ 28 h 72"/>
              <a:gd name="T24" fmla="*/ 26 w 138"/>
              <a:gd name="T25" fmla="*/ 41 h 72"/>
              <a:gd name="T26" fmla="*/ 32 w 138"/>
              <a:gd name="T27" fmla="*/ 41 h 72"/>
              <a:gd name="T28" fmla="*/ 40 w 138"/>
              <a:gd name="T29" fmla="*/ 48 h 72"/>
              <a:gd name="T30" fmla="*/ 31 w 138"/>
              <a:gd name="T31" fmla="*/ 56 h 72"/>
              <a:gd name="T32" fmla="*/ 20 w 138"/>
              <a:gd name="T33" fmla="*/ 43 h 72"/>
              <a:gd name="T34" fmla="*/ 0 w 138"/>
              <a:gd name="T35" fmla="*/ 43 h 72"/>
              <a:gd name="T36" fmla="*/ 32 w 138"/>
              <a:gd name="T37" fmla="*/ 72 h 72"/>
              <a:gd name="T38" fmla="*/ 61 w 138"/>
              <a:gd name="T39" fmla="*/ 57 h 72"/>
              <a:gd name="T40" fmla="*/ 61 w 138"/>
              <a:gd name="T41" fmla="*/ 71 h 72"/>
              <a:gd name="T42" fmla="*/ 80 w 138"/>
              <a:gd name="T43" fmla="*/ 71 h 72"/>
              <a:gd name="T44" fmla="*/ 80 w 138"/>
              <a:gd name="T45" fmla="*/ 27 h 72"/>
              <a:gd name="T46" fmla="*/ 91 w 138"/>
              <a:gd name="T47" fmla="*/ 71 h 72"/>
              <a:gd name="T48" fmla="*/ 108 w 138"/>
              <a:gd name="T49" fmla="*/ 71 h 72"/>
              <a:gd name="T50" fmla="*/ 119 w 138"/>
              <a:gd name="T51" fmla="*/ 27 h 72"/>
              <a:gd name="T52" fmla="*/ 119 w 138"/>
              <a:gd name="T53" fmla="*/ 71 h 72"/>
              <a:gd name="T54" fmla="*/ 138 w 138"/>
              <a:gd name="T55" fmla="*/ 71 h 72"/>
              <a:gd name="T56" fmla="*/ 138 w 138"/>
              <a:gd name="T57" fmla="*/ 2 h 72"/>
              <a:gd name="T58" fmla="*/ 109 w 138"/>
              <a:gd name="T59" fmla="*/ 2 h 72"/>
              <a:gd name="T60" fmla="*/ 61 w 138"/>
              <a:gd name="T61" fmla="*/ 42 h 72"/>
              <a:gd name="T62" fmla="*/ 53 w 138"/>
              <a:gd name="T63" fmla="*/ 34 h 72"/>
              <a:gd name="T64" fmla="*/ 61 w 138"/>
              <a:gd name="T65" fmla="*/ 25 h 72"/>
              <a:gd name="T66" fmla="*/ 61 w 138"/>
              <a:gd name="T6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8" h="72">
                <a:moveTo>
                  <a:pt x="109" y="2"/>
                </a:moveTo>
                <a:cubicBezTo>
                  <a:pt x="99" y="42"/>
                  <a:pt x="99" y="42"/>
                  <a:pt x="99" y="42"/>
                </a:cubicBezTo>
                <a:cubicBezTo>
                  <a:pt x="89" y="2"/>
                  <a:pt x="89" y="2"/>
                  <a:pt x="89" y="2"/>
                </a:cubicBezTo>
                <a:cubicBezTo>
                  <a:pt x="61" y="2"/>
                  <a:pt x="61" y="2"/>
                  <a:pt x="61" y="2"/>
                </a:cubicBezTo>
                <a:cubicBezTo>
                  <a:pt x="61" y="17"/>
                  <a:pt x="61" y="17"/>
                  <a:pt x="61" y="17"/>
                </a:cubicBezTo>
                <a:cubicBezTo>
                  <a:pt x="57" y="4"/>
                  <a:pt x="44" y="0"/>
                  <a:pt x="33" y="0"/>
                </a:cubicBezTo>
                <a:cubicBezTo>
                  <a:pt x="19" y="0"/>
                  <a:pt x="4" y="6"/>
                  <a:pt x="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19"/>
                  <a:pt x="28" y="16"/>
                  <a:pt x="32" y="16"/>
                </a:cubicBezTo>
                <a:cubicBezTo>
                  <a:pt x="38" y="16"/>
                  <a:pt x="41" y="18"/>
                  <a:pt x="41" y="22"/>
                </a:cubicBezTo>
                <a:cubicBezTo>
                  <a:pt x="41" y="25"/>
                  <a:pt x="39" y="28"/>
                  <a:pt x="32" y="28"/>
                </a:cubicBezTo>
                <a:cubicBezTo>
                  <a:pt x="26" y="28"/>
                  <a:pt x="26" y="28"/>
                  <a:pt x="26" y="28"/>
                </a:cubicBezTo>
                <a:cubicBezTo>
                  <a:pt x="26" y="41"/>
                  <a:pt x="26" y="41"/>
                  <a:pt x="26" y="41"/>
                </a:cubicBezTo>
                <a:cubicBezTo>
                  <a:pt x="32" y="41"/>
                  <a:pt x="32" y="41"/>
                  <a:pt x="32" y="41"/>
                </a:cubicBezTo>
                <a:cubicBezTo>
                  <a:pt x="35" y="41"/>
                  <a:pt x="40" y="43"/>
                  <a:pt x="40" y="48"/>
                </a:cubicBezTo>
                <a:cubicBezTo>
                  <a:pt x="40" y="53"/>
                  <a:pt x="36" y="56"/>
                  <a:pt x="31" y="56"/>
                </a:cubicBezTo>
                <a:cubicBezTo>
                  <a:pt x="23" y="56"/>
                  <a:pt x="20" y="49"/>
                  <a:pt x="20" y="43"/>
                </a:cubicBezTo>
                <a:cubicBezTo>
                  <a:pt x="0" y="43"/>
                  <a:pt x="0" y="43"/>
                  <a:pt x="0" y="43"/>
                </a:cubicBezTo>
                <a:cubicBezTo>
                  <a:pt x="1" y="47"/>
                  <a:pt x="0" y="72"/>
                  <a:pt x="32" y="72"/>
                </a:cubicBezTo>
                <a:cubicBezTo>
                  <a:pt x="47" y="72"/>
                  <a:pt x="58" y="66"/>
                  <a:pt x="61" y="57"/>
                </a:cubicBezTo>
                <a:cubicBezTo>
                  <a:pt x="61" y="71"/>
                  <a:pt x="61" y="71"/>
                  <a:pt x="61" y="71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27"/>
                  <a:pt x="80" y="27"/>
                  <a:pt x="80" y="27"/>
                </a:cubicBezTo>
                <a:cubicBezTo>
                  <a:pt x="91" y="71"/>
                  <a:pt x="91" y="71"/>
                  <a:pt x="91" y="71"/>
                </a:cubicBezTo>
                <a:cubicBezTo>
                  <a:pt x="108" y="71"/>
                  <a:pt x="108" y="71"/>
                  <a:pt x="108" y="71"/>
                </a:cubicBezTo>
                <a:cubicBezTo>
                  <a:pt x="119" y="27"/>
                  <a:pt x="119" y="27"/>
                  <a:pt x="119" y="27"/>
                </a:cubicBezTo>
                <a:cubicBezTo>
                  <a:pt x="119" y="71"/>
                  <a:pt x="119" y="71"/>
                  <a:pt x="119" y="71"/>
                </a:cubicBezTo>
                <a:cubicBezTo>
                  <a:pt x="138" y="71"/>
                  <a:pt x="138" y="71"/>
                  <a:pt x="138" y="71"/>
                </a:cubicBezTo>
                <a:cubicBezTo>
                  <a:pt x="138" y="2"/>
                  <a:pt x="138" y="2"/>
                  <a:pt x="138" y="2"/>
                </a:cubicBezTo>
                <a:lnTo>
                  <a:pt x="109" y="2"/>
                </a:lnTo>
                <a:close/>
                <a:moveTo>
                  <a:pt x="61" y="42"/>
                </a:moveTo>
                <a:cubicBezTo>
                  <a:pt x="58" y="37"/>
                  <a:pt x="55" y="35"/>
                  <a:pt x="53" y="34"/>
                </a:cubicBezTo>
                <a:cubicBezTo>
                  <a:pt x="57" y="32"/>
                  <a:pt x="59" y="30"/>
                  <a:pt x="61" y="25"/>
                </a:cubicBezTo>
                <a:lnTo>
                  <a:pt x="61" y="4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11" name="Group 8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3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4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6 March 2018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5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2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6" name="Footer Placeholder 3"/>
          <p:cNvSpPr txBox="1">
            <a:spLocks/>
          </p:cNvSpPr>
          <p:nvPr userDrawn="1"/>
        </p:nvSpPr>
        <p:spPr bwMode="auto">
          <a:xfrm>
            <a:off x="1944949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023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06235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"/>
            <a:ext cx="12192000" cy="152402"/>
          </a:xfrm>
          <a:prstGeom prst="rect">
            <a:avLst/>
          </a:prstGeom>
          <a:gradFill>
            <a:gsLst>
              <a:gs pos="0">
                <a:srgbClr val="00C8E6"/>
              </a:gs>
              <a:gs pos="97000">
                <a:srgbClr val="1E1E9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50" r:id="rId2"/>
    <p:sldLayoutId id="2147483828" r:id="rId3"/>
    <p:sldLayoutId id="2147483829" r:id="rId4"/>
    <p:sldLayoutId id="2147483666" r:id="rId5"/>
    <p:sldLayoutId id="2147483749" r:id="rId6"/>
    <p:sldLayoutId id="2147483727" r:id="rId7"/>
    <p:sldLayoutId id="2147483826" r:id="rId8"/>
    <p:sldLayoutId id="2147483751" r:id="rId9"/>
    <p:sldLayoutId id="2147483827" r:id="rId10"/>
    <p:sldLayoutId id="2147483671" r:id="rId11"/>
    <p:sldLayoutId id="2147483752" r:id="rId12"/>
    <p:sldLayoutId id="2147483728" r:id="rId13"/>
    <p:sldLayoutId id="2147483673" r:id="rId14"/>
    <p:sldLayoutId id="2147483672" r:id="rId15"/>
    <p:sldLayoutId id="2147483674" r:id="rId16"/>
    <p:sldLayoutId id="2147483676" r:id="rId17"/>
    <p:sldLayoutId id="2147483729" r:id="rId18"/>
    <p:sldLayoutId id="2147483675" r:id="rId19"/>
    <p:sldLayoutId id="2147483824" r:id="rId20"/>
    <p:sldLayoutId id="2147483667" r:id="rId21"/>
    <p:sldLayoutId id="2147483663" r:id="rId22"/>
    <p:sldLayoutId id="2147483753" r:id="rId23"/>
    <p:sldLayoutId id="2147483709" r:id="rId24"/>
    <p:sldLayoutId id="2147483765" r:id="rId25"/>
    <p:sldLayoutId id="2147483818" r:id="rId26"/>
    <p:sldLayoutId id="2147483817" r:id="rId27"/>
    <p:sldLayoutId id="2147483748" r:id="rId28"/>
    <p:sldLayoutId id="2147483819" r:id="rId29"/>
    <p:sldLayoutId id="2147483833" r:id="rId30"/>
    <p:sldLayoutId id="2147483834" r:id="rId31"/>
    <p:sldLayoutId id="2147483835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multimedia.3m.com/mws/media/1282972O/3m-itm-overview-flyer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7" Type="http://schemas.openxmlformats.org/officeDocument/2006/relationships/image" Target="../media/image22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1.tiff"/><Relationship Id="rId5" Type="http://schemas.openxmlformats.org/officeDocument/2006/relationships/image" Target="../media/image20.tiff"/><Relationship Id="rId4" Type="http://schemas.openxmlformats.org/officeDocument/2006/relationships/image" Target="../media/image19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tiff"/><Relationship Id="rId5" Type="http://schemas.openxmlformats.org/officeDocument/2006/relationships/image" Target="../media/image27.tiff"/><Relationship Id="rId4" Type="http://schemas.openxmlformats.org/officeDocument/2006/relationships/image" Target="../media/image26.tif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tif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/>
              <a:t>3M</a:t>
            </a:r>
            <a:r>
              <a:rPr lang="en-US" sz="5400" baseline="30000" dirty="0"/>
              <a:t>™ </a:t>
            </a:r>
            <a:r>
              <a:rPr lang="en-US" sz="5400" dirty="0"/>
              <a:t>Connected Roads</a:t>
            </a:r>
            <a:br>
              <a:rPr lang="en-US" sz="5400" dirty="0"/>
            </a:br>
            <a:r>
              <a:rPr lang="en-US" sz="5400" dirty="0"/>
              <a:t>Enabling Intelligent Infrastructure</a:t>
            </a:r>
            <a:endParaRPr lang="en-US" sz="540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4048" y="3892296"/>
            <a:ext cx="10421112" cy="864848"/>
          </a:xfrm>
        </p:spPr>
        <p:txBody>
          <a:bodyPr/>
          <a:lstStyle/>
          <a:p>
            <a:r>
              <a:rPr lang="en-US" dirty="0"/>
              <a:t>Minnesota House Transportation Finance Committee Testimo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rch 8, </a:t>
            </a:r>
            <a:r>
              <a:rPr lang="en-US" dirty="0"/>
              <a:t>2018 </a:t>
            </a:r>
          </a:p>
        </p:txBody>
      </p:sp>
    </p:spTree>
    <p:extLst>
      <p:ext uri="{BB962C8B-B14F-4D97-AF65-F5344CB8AC3E}">
        <p14:creationId xmlns:p14="http://schemas.microsoft.com/office/powerpoint/2010/main" val="411680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764" y="24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4" y="248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Machine Readable Work Zone Materials</a:t>
            </a:r>
            <a:endParaRPr lang="en-US" dirty="0"/>
          </a:p>
        </p:txBody>
      </p:sp>
      <p:sp>
        <p:nvSpPr>
          <p:cNvPr id="21" name="Text Placeholder 20"/>
          <p:cNvSpPr txBox="1">
            <a:spLocks noGrp="1"/>
          </p:cNvSpPr>
          <p:nvPr>
            <p:ph type="body" sz="quarter" idx="10"/>
          </p:nvPr>
        </p:nvSpPr>
        <p:spPr>
          <a:xfrm>
            <a:off x="381000" y="841248"/>
            <a:ext cx="11196976" cy="4062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Solutions that may enable accurate work zone object detection and classification</a:t>
            </a:r>
            <a:endParaRPr lang="en-US" sz="2400" u="sng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01" y="1377424"/>
            <a:ext cx="3428449" cy="218965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1645" y="1371398"/>
            <a:ext cx="3323391" cy="2216676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7660094" y="1371398"/>
            <a:ext cx="4071161" cy="5091446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normAutofit/>
          </a:bodyPr>
          <a:lstStyle/>
          <a:p>
            <a:pPr>
              <a:spcBef>
                <a:spcPts val="600"/>
              </a:spcBef>
              <a:buClr>
                <a:prstClr val="black"/>
              </a:buClr>
              <a:defRPr/>
            </a:pPr>
            <a:endParaRPr lang="en-US" b="1" dirty="0">
              <a:solidFill>
                <a:prstClr val="black"/>
              </a:solidFill>
              <a:ea typeface="ＭＳ Ｐゴシック" charset="0"/>
            </a:endParaRPr>
          </a:p>
          <a:p>
            <a:pPr>
              <a:spcBef>
                <a:spcPts val="600"/>
              </a:spcBef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endParaRPr lang="en-US" sz="1795" b="1" dirty="0">
              <a:solidFill>
                <a:prstClr val="black"/>
              </a:solidFill>
              <a:ea typeface="ＭＳ Ｐゴシック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742385" y="1739686"/>
            <a:ext cx="3906577" cy="39164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8275" indent="-168275">
              <a:spcAft>
                <a:spcPts val="300"/>
              </a:spcAft>
            </a:pPr>
            <a:r>
              <a:rPr lang="en-US" sz="1600" b="1" dirty="0">
                <a:solidFill>
                  <a:prstClr val="black"/>
                </a:solidFill>
              </a:rPr>
              <a:t>Current Signing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Fluorescent technology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Returns up to 58% of light to all driver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Maintains superior human readability</a:t>
            </a:r>
          </a:p>
          <a:p>
            <a:pPr>
              <a:spcAft>
                <a:spcPts val="300"/>
              </a:spcAft>
            </a:pPr>
            <a:endParaRPr lang="en-US" sz="1600" b="1" dirty="0">
              <a:solidFill>
                <a:prstClr val="black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1600" b="1" dirty="0">
                <a:solidFill>
                  <a:prstClr val="black"/>
                </a:solidFill>
              </a:rPr>
              <a:t>Future Signing Performance Goal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Embedded digital informatio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In development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Quick discernment  vs. worker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Embedded metadata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Dynamically changeabl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Digital certainty 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prstClr val="black"/>
                </a:solidFill>
              </a:rPr>
              <a:t>Sign class redundant</a:t>
            </a:r>
            <a:endParaRPr lang="en-US" sz="1400" dirty="0">
              <a:solidFill>
                <a:prstClr val="black"/>
              </a:solidFill>
            </a:endParaRPr>
          </a:p>
          <a:p>
            <a:pPr marL="168275" indent="-168275">
              <a:spcAft>
                <a:spcPts val="300"/>
              </a:spcAft>
            </a:pP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78601" y="3567078"/>
            <a:ext cx="7176435" cy="38283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Diamond Grade™ Fluorescent</a:t>
            </a:r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7050" y="1377424"/>
            <a:ext cx="1460482" cy="218965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601" y="4024059"/>
            <a:ext cx="7176435" cy="213594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379413" y="6148316"/>
            <a:ext cx="7175623" cy="3145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Machine Vision Optimized with Decoded Metadata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62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807" y="1216742"/>
            <a:ext cx="5619680" cy="42147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26515" y="1690915"/>
            <a:ext cx="5245968" cy="429762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215465" y="284411"/>
            <a:ext cx="11425237" cy="4572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ptimized Messaging, Message Confidence</a:t>
            </a:r>
          </a:p>
          <a:p>
            <a:r>
              <a:rPr lang="en-US" sz="2000" dirty="0"/>
              <a:t>Machine Readable Sign, MI Corridor, Summer 2017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496771" y="5614687"/>
            <a:ext cx="5597687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2000" dirty="0"/>
              <a:t>Performance Metric: </a:t>
            </a:r>
          </a:p>
          <a:p>
            <a:pPr algn="ctr"/>
            <a:r>
              <a:rPr lang="en-US" sz="2000" dirty="0"/>
              <a:t>Current read distance is ~ 100 meters at 60mph,</a:t>
            </a:r>
          </a:p>
          <a:p>
            <a:pPr algn="ctr"/>
            <a:r>
              <a:rPr lang="en-US" sz="2000" dirty="0"/>
              <a:t>highway conditions </a:t>
            </a:r>
          </a:p>
        </p:txBody>
      </p:sp>
    </p:spTree>
    <p:extLst>
      <p:ext uri="{BB962C8B-B14F-4D97-AF65-F5344CB8AC3E}">
        <p14:creationId xmlns:p14="http://schemas.microsoft.com/office/powerpoint/2010/main" val="319012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M Smart Codes, Michigan I-75 Corridor, day (Aug 2017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608" y="835236"/>
            <a:ext cx="11215032" cy="556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68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/>
          <a:p>
            <a:r>
              <a:rPr lang="en-US" sz="3199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Recommendations to prepare for Roadways of the Future</a:t>
            </a:r>
          </a:p>
        </p:txBody>
      </p:sp>
      <p:pic>
        <p:nvPicPr>
          <p:cNvPr id="8" name="Picture 7">
            <a:hlinkClick r:id="rId3"/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693" y="1285600"/>
            <a:ext cx="4113785" cy="5205339"/>
          </a:xfrm>
          <a:prstGeom prst="rect">
            <a:avLst/>
          </a:prstGeom>
        </p:spPr>
      </p:pic>
      <p:pic>
        <p:nvPicPr>
          <p:cNvPr id="9" name="Picture 8">
            <a:hlinkClick r:id="rId3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9182" y="1331126"/>
            <a:ext cx="3990595" cy="515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44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ctrTitle"/>
          </p:nvPr>
        </p:nvSpPr>
        <p:spPr bwMode="auto">
          <a:xfrm>
            <a:off x="82062" y="227930"/>
            <a:ext cx="12399872" cy="8272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/>
          <a:p>
            <a:r>
              <a:rPr lang="en-US" sz="3200" dirty="0">
                <a:latin typeface="3M Circular TT Bold"/>
              </a:rPr>
              <a:t>Intelligent Systems Enabling Intelligent Infrastructure</a:t>
            </a:r>
          </a:p>
        </p:txBody>
      </p:sp>
      <p:pic>
        <p:nvPicPr>
          <p:cNvPr id="133122" name="Picture 2" descr="https://www.daimler.com/Projects/c2c/channel/images/790751_1449834_425_281_benz_patent_motorwagen_188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163" y="1330561"/>
            <a:ext cx="6618276" cy="4143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62" name="Picture 2" descr="https://revolnews.files.wordpress.com/2015/01/karl-benz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8845" y="1058863"/>
            <a:ext cx="2971838" cy="1439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/>
          <p:cNvSpPr txBox="1">
            <a:spLocks/>
          </p:cNvSpPr>
          <p:nvPr/>
        </p:nvSpPr>
        <p:spPr>
          <a:xfrm>
            <a:off x="1589" y="699271"/>
            <a:ext cx="11424047" cy="3656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182563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98" dirty="0">
                <a:solidFill>
                  <a:schemeClr val="bg1">
                    <a:lumMod val="50000"/>
                  </a:schemeClr>
                </a:solidFill>
              </a:rPr>
              <a:t>130 years of Stronger, Safer and </a:t>
            </a:r>
            <a:r>
              <a:rPr lang="en-US" sz="1998" u="sng" dirty="0">
                <a:solidFill>
                  <a:schemeClr val="bg1">
                    <a:lumMod val="50000"/>
                  </a:schemeClr>
                </a:solidFill>
              </a:rPr>
              <a:t>NOW SMARTER &amp; SAFER</a:t>
            </a:r>
          </a:p>
          <a:p>
            <a:endParaRPr lang="en-US" sz="1998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1554" name="Picture 2" descr="http://cf.collectorsweekly.com/stories/OdDvIqnD9q3WZeWgWu9ZKg-small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0862" y="4778740"/>
            <a:ext cx="1488587" cy="138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Image result for button copy stop sign"/>
          <p:cNvSpPr>
            <a:spLocks noChangeAspect="1" noChangeArrowheads="1"/>
          </p:cNvSpPr>
          <p:nvPr/>
        </p:nvSpPr>
        <p:spPr bwMode="auto">
          <a:xfrm>
            <a:off x="157163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1562" name="Picture 10" descr="http://www.alpsroads.net/roads/ma/ma_9/stop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4599" y="4674626"/>
            <a:ext cx="1678749" cy="1488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315473" y="3959076"/>
            <a:ext cx="442207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latin typeface="3M Circular TT Bold"/>
              </a:rPr>
              <a:t>   </a:t>
            </a:r>
            <a:r>
              <a:rPr lang="en-US" sz="3200" u="sng" dirty="0">
                <a:latin typeface="3M Circular TT Bold"/>
              </a:rPr>
              <a:t>First Stop Signs</a:t>
            </a:r>
          </a:p>
          <a:p>
            <a:pPr algn="ctr"/>
            <a:endParaRPr lang="en-US" sz="3200" dirty="0">
              <a:latin typeface="3M Circular TT Bold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3200" dirty="0">
              <a:latin typeface="3M Circular TT Bold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3200" dirty="0">
              <a:latin typeface="3M Circular TT Bold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8026" y="4794238"/>
            <a:ext cx="1410390" cy="138440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7297235" y="2481319"/>
            <a:ext cx="442207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latin typeface="3M Circular TT Bold"/>
              </a:rPr>
              <a:t>   </a:t>
            </a:r>
            <a:r>
              <a:rPr lang="en-US" sz="3200" u="sng" dirty="0">
                <a:latin typeface="3M Circular TT Bold"/>
              </a:rPr>
              <a:t>First Automobile</a:t>
            </a:r>
          </a:p>
          <a:p>
            <a:pPr algn="ctr"/>
            <a:r>
              <a:rPr lang="en-US" sz="3200" dirty="0">
                <a:latin typeface="3M Circular TT Bold"/>
              </a:rPr>
              <a:t>  Karl Benz 1885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3200" dirty="0">
              <a:latin typeface="3M Circular TT Bold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3200" dirty="0">
              <a:latin typeface="3M Circular TT Bold"/>
            </a:endParaRPr>
          </a:p>
        </p:txBody>
      </p:sp>
    </p:spTree>
    <p:extLst>
      <p:ext uri="{BB962C8B-B14F-4D97-AF65-F5344CB8AC3E}">
        <p14:creationId xmlns:p14="http://schemas.microsoft.com/office/powerpoint/2010/main" val="427526317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/>
          <a:p>
            <a:r>
              <a:rPr lang="en-US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Autonomous Vehicles are the Future of Driving</a:t>
            </a:r>
            <a:br>
              <a:rPr lang="en-US" dirty="0">
                <a:latin typeface="3M Circular TT Bold" panose="020B0804020101010102" pitchFamily="34" charset="0"/>
                <a:cs typeface="3M Circular TT Bold" panose="020B0804020101010102" pitchFamily="34" charset="0"/>
              </a:rPr>
            </a:br>
            <a:endParaRPr lang="en-US" dirty="0">
              <a:latin typeface="3M Circular TT Bold" panose="020B0804020101010102" pitchFamily="34" charset="0"/>
              <a:cs typeface="3M Circular TT Bold" panose="020B0804020101010102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nfrastructure will play a key role in autonomous driving advancemen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3242" y="1461011"/>
            <a:ext cx="4416296" cy="243634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6513242" y="3985039"/>
            <a:ext cx="4416552" cy="2352388"/>
          </a:xfrm>
          <a:prstGeom prst="rect">
            <a:avLst/>
          </a:prstGeom>
        </p:spPr>
      </p:pic>
      <p:sp>
        <p:nvSpPr>
          <p:cNvPr id="7" name="Text Placeholder 3"/>
          <p:cNvSpPr txBox="1">
            <a:spLocks/>
          </p:cNvSpPr>
          <p:nvPr/>
        </p:nvSpPr>
        <p:spPr>
          <a:xfrm>
            <a:off x="314896" y="655842"/>
            <a:ext cx="11424047" cy="3656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182563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1" t="-2142" r="866" b="2898"/>
          <a:stretch/>
        </p:blipFill>
        <p:spPr>
          <a:xfrm>
            <a:off x="314896" y="1461011"/>
            <a:ext cx="6146801" cy="4876415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1309699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Development driving Infrastructure ne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A97340A-F1A3-4B58-B281-18C5357A36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4110" y="1109665"/>
            <a:ext cx="9144000" cy="56189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03562B8-B16D-424F-A782-157DFC3C1D8F}"/>
              </a:ext>
            </a:extLst>
          </p:cNvPr>
          <p:cNvSpPr txBox="1"/>
          <p:nvPr/>
        </p:nvSpPr>
        <p:spPr>
          <a:xfrm>
            <a:off x="7148727" y="6563360"/>
            <a:ext cx="397171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Yonge-Dundas Square, Toronto Ontario Canada</a:t>
            </a:r>
          </a:p>
        </p:txBody>
      </p:sp>
    </p:spTree>
    <p:extLst>
      <p:ext uri="{BB962C8B-B14F-4D97-AF65-F5344CB8AC3E}">
        <p14:creationId xmlns:p14="http://schemas.microsoft.com/office/powerpoint/2010/main" val="3799972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64655" cy="1012825"/>
          </a:xfrm>
        </p:spPr>
        <p:txBody>
          <a:bodyPr/>
          <a:lstStyle/>
          <a:p>
            <a:r>
              <a:rPr lang="en-US" dirty="0"/>
              <a:t>Pavement Markings Challenges for Optical Camera Systems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602966" y="4829263"/>
            <a:ext cx="1390790" cy="18410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04810" y="2794076"/>
            <a:ext cx="1267455" cy="197724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398" y="1392238"/>
            <a:ext cx="2863953" cy="132857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8585" y="4844579"/>
            <a:ext cx="1303680" cy="182576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2966" y="2830707"/>
            <a:ext cx="1390790" cy="194061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9156945" y="-439837"/>
            <a:ext cx="593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1.78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xmlns="" id="{C4DE96FD-62F6-4D1B-985B-E45ADE7DCA7E}"/>
              </a:ext>
            </a:extLst>
          </p:cNvPr>
          <p:cNvSpPr txBox="1">
            <a:spLocks/>
          </p:cNvSpPr>
          <p:nvPr/>
        </p:nvSpPr>
        <p:spPr>
          <a:xfrm>
            <a:off x="252391" y="774307"/>
            <a:ext cx="7895930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182563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r>
              <a:rPr lang="en-US" sz="2800" b="1" dirty="0"/>
              <a:t>Challenges:</a:t>
            </a:r>
          </a:p>
          <a:p>
            <a:endParaRPr lang="en-US" sz="8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Poor or worn mark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Markings disappearing at night in the ra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Marking disappearing in dry glare condi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Yellow lines disappearing on concrete or light colored roa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False identification of crack seals, seams, and scars as lane markings</a:t>
            </a:r>
          </a:p>
        </p:txBody>
      </p:sp>
    </p:spTree>
    <p:extLst>
      <p:ext uri="{BB962C8B-B14F-4D97-AF65-F5344CB8AC3E}">
        <p14:creationId xmlns:p14="http://schemas.microsoft.com/office/powerpoint/2010/main" val="297796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864" y="263445"/>
            <a:ext cx="10858827" cy="61199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4454" y="396831"/>
            <a:ext cx="7101249" cy="457200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3M Durable Pavement Marketing with All Weather Optics 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6155078" y="1267097"/>
            <a:ext cx="0" cy="4585063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44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the Sign: Selective sensors, IR vs Optical Camera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727" y="836614"/>
            <a:ext cx="11259594" cy="5592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3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743" y="328901"/>
            <a:ext cx="11812588" cy="457200"/>
          </a:xfrm>
        </p:spPr>
        <p:txBody>
          <a:bodyPr>
            <a:normAutofit/>
          </a:bodyPr>
          <a:lstStyle/>
          <a:p>
            <a:r>
              <a:rPr lang="en-US" dirty="0"/>
              <a:t>Trusting Machines:  False Classification Example</a:t>
            </a:r>
            <a:r>
              <a:rPr lang="en-US" baseline="30000" dirty="0"/>
              <a:t>1</a:t>
            </a:r>
            <a:endParaRPr lang="en-US" sz="1200" baseline="30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8506328" y="2292193"/>
            <a:ext cx="3511283" cy="2631505"/>
          </a:xfrm>
        </p:spPr>
        <p:txBody>
          <a:bodyPr>
            <a:noAutofit/>
          </a:bodyPr>
          <a:lstStyle/>
          <a:p>
            <a:pPr algn="r"/>
            <a:r>
              <a:rPr lang="en-US" sz="2800" i="1" dirty="0">
                <a:solidFill>
                  <a:srgbClr val="0070C0"/>
                </a:solidFill>
              </a:rPr>
              <a:t>Any signing solution needs to address security concerns re: physical “hacks” to road signs that confound AV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006" y="3866910"/>
            <a:ext cx="1812230" cy="2474427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>
            <a:off x="4778548" y="4780849"/>
            <a:ext cx="1002932" cy="51577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2554" y="4096980"/>
            <a:ext cx="1791368" cy="22184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9016" y="3913910"/>
            <a:ext cx="2215409" cy="24014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223" y="1466238"/>
            <a:ext cx="2312345" cy="226609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065" y="1578890"/>
            <a:ext cx="2312345" cy="226609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781479" y="1117225"/>
            <a:ext cx="27248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Classification Resul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402517" y="1004573"/>
            <a:ext cx="17204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nput Imag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91863" y="779822"/>
            <a:ext cx="755976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baseline="30000" dirty="0"/>
              <a:t>1</a:t>
            </a:r>
            <a:r>
              <a:rPr lang="en-US" sz="1100" dirty="0"/>
              <a:t> “Robust Physical World Attributes on Machine Learning Models;” </a:t>
            </a:r>
            <a:r>
              <a:rPr lang="en-US" sz="1100" dirty="0" err="1"/>
              <a:t>Evtimov</a:t>
            </a:r>
            <a:r>
              <a:rPr lang="en-US" sz="1100" dirty="0"/>
              <a:t> </a:t>
            </a:r>
            <a:r>
              <a:rPr lang="en-US" sz="1100" i="1" dirty="0" err="1"/>
              <a:t>etal</a:t>
            </a:r>
            <a:r>
              <a:rPr lang="en-US" sz="1100" dirty="0"/>
              <a:t> https://arxiv.org/pdf/1707.08945.pdf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4778547" y="2292193"/>
            <a:ext cx="1002932" cy="51577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16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764" y="24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4" y="248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3M Circular TT Bold" panose="020B0804020101010102" pitchFamily="34" charset="0"/>
                <a:cs typeface="3M Circular TT Bold" panose="020B0804020101010102" pitchFamily="34" charset="0"/>
              </a:rPr>
              <a:t>Optimized Messaging: Machine Readable Signage</a:t>
            </a:r>
            <a:endParaRPr lang="en-US" dirty="0"/>
          </a:p>
        </p:txBody>
      </p:sp>
      <p:sp>
        <p:nvSpPr>
          <p:cNvPr id="21" name="Text Placeholder 20"/>
          <p:cNvSpPr txBox="1">
            <a:spLocks noGrp="1"/>
          </p:cNvSpPr>
          <p:nvPr>
            <p:ph type="body" sz="quarter" idx="10"/>
          </p:nvPr>
        </p:nvSpPr>
        <p:spPr>
          <a:xfrm>
            <a:off x="381000" y="841248"/>
            <a:ext cx="9130705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4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Solutions that may enable more reliable sign detection and classification</a:t>
            </a:r>
            <a:endParaRPr lang="en-US" sz="2400" u="sng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8394" y="1404764"/>
            <a:ext cx="7175623" cy="21718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4658" y="1736780"/>
            <a:ext cx="18662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FFFF"/>
                </a:solidFill>
              </a:rPr>
              <a:t>Human Optimize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788395" y="3576594"/>
            <a:ext cx="7175623" cy="3145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Computer Vision Image and Associated Meta-Data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9413" y="4143158"/>
            <a:ext cx="10634604" cy="222899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normAutofit/>
          </a:bodyPr>
          <a:lstStyle/>
          <a:p>
            <a:pPr>
              <a:spcBef>
                <a:spcPts val="600"/>
              </a:spcBef>
              <a:buClr>
                <a:prstClr val="black"/>
              </a:buClr>
              <a:defRPr/>
            </a:pPr>
            <a:endParaRPr lang="en-US" b="1" dirty="0">
              <a:solidFill>
                <a:prstClr val="black"/>
              </a:solidFill>
              <a:ea typeface="ＭＳ Ｐゴシック" charset="0"/>
            </a:endParaRPr>
          </a:p>
          <a:p>
            <a:pPr>
              <a:spcBef>
                <a:spcPts val="600"/>
              </a:spcBef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endParaRPr lang="en-US" sz="1795" b="1" dirty="0">
              <a:solidFill>
                <a:prstClr val="black"/>
              </a:solidFill>
              <a:ea typeface="ＭＳ Ｐゴシック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49921" y="4214588"/>
            <a:ext cx="5765370" cy="24699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2800" b="1" dirty="0">
                <a:solidFill>
                  <a:prstClr val="black"/>
                </a:solidFill>
              </a:rPr>
              <a:t>Signing Performance Goals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Embeddable digital informatio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Encoded error recovery 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Digitally certain results 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 err="1"/>
              <a:t>Encryptable</a:t>
            </a:r>
            <a:endParaRPr lang="en-US" sz="2400" b="1" dirty="0"/>
          </a:p>
          <a:p>
            <a:pPr marL="168275" indent="-168275">
              <a:spcAft>
                <a:spcPts val="300"/>
              </a:spcAft>
            </a:pPr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58" y="1404764"/>
            <a:ext cx="3107948" cy="2486358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379411" y="3633754"/>
            <a:ext cx="3153195" cy="2573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Visible Spectrum Image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80290" y="4711772"/>
            <a:ext cx="5765370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Authenticatabl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Redundant classification confirmation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Dynamically changeable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400" b="1" dirty="0"/>
              <a:t>Maintains visible light performance</a:t>
            </a:r>
          </a:p>
          <a:p>
            <a:pPr marL="168275" indent="-168275">
              <a:spcAft>
                <a:spcPts val="300"/>
              </a:spcAft>
            </a:pPr>
            <a:endParaRPr lang="en-US" sz="2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51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50209_3M_PPTTemplate_v7">
  <a:themeElements>
    <a:clrScheme name="TRIFECTA 8 LtBlue_DkBlue_Pur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8228B4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2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73f167e-3cff-468e-910d-c3b44c8965b4">
      <UserInfo>
        <DisplayName>Justin Johnson</DisplayName>
        <AccountId>26</AccountId>
        <AccountType/>
      </UserInfo>
      <UserInfo>
        <DisplayName>William Woodfin</DisplayName>
        <AccountId>8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AF9DC9E508EC41974AE20137B825C2" ma:contentTypeVersion="7" ma:contentTypeDescription="Create a new document." ma:contentTypeScope="" ma:versionID="ae3e4b6c316fb4eda41de658100ab3fc">
  <xsd:schema xmlns:xsd="http://www.w3.org/2001/XMLSchema" xmlns:xs="http://www.w3.org/2001/XMLSchema" xmlns:p="http://schemas.microsoft.com/office/2006/metadata/properties" xmlns:ns2="d73f167e-3cff-468e-910d-c3b44c8965b4" xmlns:ns3="7d8128dd-9a09-4c9a-a960-8e2b6c74b41a" targetNamespace="http://schemas.microsoft.com/office/2006/metadata/properties" ma:root="true" ma:fieldsID="057a51c3b90b52b258a502a5256977ff" ns2:_="" ns3:_="">
    <xsd:import namespace="d73f167e-3cff-468e-910d-c3b44c8965b4"/>
    <xsd:import namespace="7d8128dd-9a09-4c9a-a960-8e2b6c74b4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3f167e-3cff-468e-910d-c3b44c8965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8128dd-9a09-4c9a-a960-8e2b6c74b4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6C7087-01B7-429D-99E6-FA88949505E8}">
  <ds:schemaRefs>
    <ds:schemaRef ds:uri="d73f167e-3cff-468e-910d-c3b44c8965b4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7d8128dd-9a09-4c9a-a960-8e2b6c74b41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1734530-6B89-4434-A146-E455B15287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3f167e-3cff-468e-910d-c3b44c8965b4"/>
    <ds:schemaRef ds:uri="7d8128dd-9a09-4c9a-a960-8e2b6c74b4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DC4E945-70DB-4847-816A-4870362A02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3M_PPT_Presentation_020915</Template>
  <TotalTime>0</TotalTime>
  <Words>363</Words>
  <Application>Microsoft Office PowerPoint</Application>
  <PresentationFormat>Widescreen</PresentationFormat>
  <Paragraphs>84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ＭＳ Ｐゴシック</vt:lpstr>
      <vt:lpstr>3M Circular TT Bold</vt:lpstr>
      <vt:lpstr>3M Circular TT Book</vt:lpstr>
      <vt:lpstr>Arial</vt:lpstr>
      <vt:lpstr>Calibri</vt:lpstr>
      <vt:lpstr>Wingdings</vt:lpstr>
      <vt:lpstr>150209_3M_PPTTemplate_v7</vt:lpstr>
      <vt:lpstr>think-cell Slide</vt:lpstr>
      <vt:lpstr>3M™ Connected Roads Enabling Intelligent Infrastructure</vt:lpstr>
      <vt:lpstr>Intelligent Systems Enabling Intelligent Infrastructure</vt:lpstr>
      <vt:lpstr>Autonomous Vehicles are the Future of Driving </vt:lpstr>
      <vt:lpstr>Vehicle Development driving Infrastructure need</vt:lpstr>
      <vt:lpstr>Pavement Markings Challenges for Optical Camera Systems</vt:lpstr>
      <vt:lpstr>3M Durable Pavement Marketing with All Weather Optics </vt:lpstr>
      <vt:lpstr>Finding the Sign: Selective sensors, IR vs Optical Camera</vt:lpstr>
      <vt:lpstr>Trusting Machines:  False Classification Example1</vt:lpstr>
      <vt:lpstr>Optimized Messaging: Machine Readable Signage</vt:lpstr>
      <vt:lpstr>Machine Readable Work Zone Materials</vt:lpstr>
      <vt:lpstr>PowerPoint Presentation</vt:lpstr>
      <vt:lpstr>3M Smart Codes, Michigan I-75 Corridor, day (Aug 2017)</vt:lpstr>
      <vt:lpstr>Recommendations to prepare for Roadways of the Futur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5 Trifecta 1.0</dc:title>
  <dc:creator/>
  <dc:description>brand.3M.com</dc:description>
  <cp:lastModifiedBy/>
  <cp:revision>1</cp:revision>
  <dcterms:created xsi:type="dcterms:W3CDTF">2015-02-10T20:12:44Z</dcterms:created>
  <dcterms:modified xsi:type="dcterms:W3CDTF">2018-03-06T23:4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958178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6.0.7</vt:lpwstr>
  </property>
  <property fmtid="{D5CDD505-2E9C-101B-9397-08002B2CF9AE}" pid="5" name="ContentTypeId">
    <vt:lpwstr>0x01010071AF9DC9E508EC41974AE20137B825C2</vt:lpwstr>
  </property>
</Properties>
</file>